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9" r:id="rId5"/>
  </p:sldMasterIdLst>
  <p:notesMasterIdLst>
    <p:notesMasterId r:id="rId14"/>
  </p:notesMasterIdLst>
  <p:handoutMasterIdLst>
    <p:handoutMasterId r:id="rId15"/>
  </p:handoutMasterIdLst>
  <p:sldIdLst>
    <p:sldId id="622" r:id="rId6"/>
    <p:sldId id="577" r:id="rId7"/>
    <p:sldId id="624" r:id="rId8"/>
    <p:sldId id="539" r:id="rId9"/>
    <p:sldId id="595" r:id="rId10"/>
    <p:sldId id="602" r:id="rId11"/>
    <p:sldId id="606" r:id="rId12"/>
    <p:sldId id="623" r:id="rId13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  <p15:guide id="5" pos="2315" userDrawn="1">
          <p15:clr>
            <a:srgbClr val="A4A3A4"/>
          </p15:clr>
        </p15:guide>
        <p15:guide id="6" pos="2261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  <p15:guide id="8" pos="2160" userDrawn="1">
          <p15:clr>
            <a:srgbClr val="A4A3A4"/>
          </p15:clr>
        </p15:guide>
        <p15:guide id="9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1F1"/>
    <a:srgbClr val="9DC2DF"/>
    <a:srgbClr val="ABD9DF"/>
    <a:srgbClr val="E6C1C1"/>
    <a:srgbClr val="B0DEE3"/>
    <a:srgbClr val="99C0DB"/>
    <a:srgbClr val="F5F6F6"/>
    <a:srgbClr val="EFF6FF"/>
    <a:srgbClr val="DEECFF"/>
    <a:srgbClr val="0026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48" autoAdjust="0"/>
    <p:restoredTop sz="82093" autoAdjust="0"/>
  </p:normalViewPr>
  <p:slideViewPr>
    <p:cSldViewPr>
      <p:cViewPr varScale="1">
        <p:scale>
          <a:sx n="96" d="100"/>
          <a:sy n="96" d="100"/>
        </p:scale>
        <p:origin x="-2118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-4716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36"/>
        <p:guide orient="horz" pos="2932"/>
        <p:guide orient="horz" pos="2928"/>
        <p:guide pos="2265"/>
        <p:guide pos="2212"/>
        <p:guide pos="2315"/>
        <p:guide pos="2261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3037735" cy="464503"/>
          </a:xfrm>
          <a:prstGeom prst="rect">
            <a:avLst/>
          </a:prstGeom>
        </p:spPr>
        <p:txBody>
          <a:bodyPr vert="horz" lIns="90590" tIns="45296" rIns="90590" bIns="4529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086" y="5"/>
            <a:ext cx="3037735" cy="464503"/>
          </a:xfrm>
          <a:prstGeom prst="rect">
            <a:avLst/>
          </a:prstGeom>
        </p:spPr>
        <p:txBody>
          <a:bodyPr vert="horz" lIns="90590" tIns="45296" rIns="90590" bIns="45296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30321"/>
            <a:ext cx="3037735" cy="464503"/>
          </a:xfrm>
          <a:prstGeom prst="rect">
            <a:avLst/>
          </a:prstGeom>
        </p:spPr>
        <p:txBody>
          <a:bodyPr vert="horz" lIns="90590" tIns="45296" rIns="90590" bIns="4529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086" y="8830321"/>
            <a:ext cx="3037735" cy="464503"/>
          </a:xfrm>
          <a:prstGeom prst="rect">
            <a:avLst/>
          </a:prstGeom>
        </p:spPr>
        <p:txBody>
          <a:bodyPr vert="horz" lIns="90590" tIns="45296" rIns="90590" bIns="45296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4201" tIns="47099" rIns="94201" bIns="4709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8" y="0"/>
            <a:ext cx="3037840" cy="464820"/>
          </a:xfrm>
          <a:prstGeom prst="rect">
            <a:avLst/>
          </a:prstGeom>
        </p:spPr>
        <p:txBody>
          <a:bodyPr vert="horz" lIns="94201" tIns="47099" rIns="94201" bIns="47099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700088"/>
            <a:ext cx="4641850" cy="3482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01" tIns="47099" rIns="94201" bIns="4709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800"/>
            <a:ext cx="5608320" cy="4183380"/>
          </a:xfrm>
          <a:prstGeom prst="rect">
            <a:avLst/>
          </a:prstGeom>
        </p:spPr>
        <p:txBody>
          <a:bodyPr vert="horz" lIns="94201" tIns="47099" rIns="94201" bIns="4709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4"/>
            <a:ext cx="3037840" cy="464820"/>
          </a:xfrm>
          <a:prstGeom prst="rect">
            <a:avLst/>
          </a:prstGeom>
        </p:spPr>
        <p:txBody>
          <a:bodyPr vert="horz" lIns="94201" tIns="47099" rIns="94201" bIns="4709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8" y="8829974"/>
            <a:ext cx="3037840" cy="464820"/>
          </a:xfrm>
          <a:prstGeom prst="rect">
            <a:avLst/>
          </a:prstGeom>
        </p:spPr>
        <p:txBody>
          <a:bodyPr vert="horz" lIns="94201" tIns="47099" rIns="94201" bIns="47099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403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701675"/>
            <a:ext cx="4676775" cy="35083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701040" y="4444631"/>
            <a:ext cx="5608320" cy="4210704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59679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701675"/>
            <a:ext cx="4676775" cy="35083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701040" y="4444631"/>
            <a:ext cx="5608320" cy="4210704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912888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1341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1765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1785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8221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701675"/>
            <a:ext cx="4676775" cy="35083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701040" y="4444631"/>
            <a:ext cx="5608320" cy="4210704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83308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87569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24241612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 txBox="1">
            <a:spLocks noGrp="1"/>
          </p:cNvSpPr>
          <p:nvPr>
            <p:ph type="title"/>
          </p:nvPr>
        </p:nvSpPr>
        <p:spPr>
          <a:xfrm>
            <a:off x="265500" y="1863133"/>
            <a:ext cx="4045200" cy="17576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Montserrat"/>
              <a:buNone/>
              <a:defRPr sz="360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subTitle" idx="1"/>
          </p:nvPr>
        </p:nvSpPr>
        <p:spPr>
          <a:xfrm>
            <a:off x="265500" y="3647161"/>
            <a:ext cx="4045200" cy="17940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2"/>
          </p:nvPr>
        </p:nvSpPr>
        <p:spPr>
          <a:xfrm>
            <a:off x="4939500" y="965600"/>
            <a:ext cx="3837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Char char="●"/>
              <a:defRPr>
                <a:solidFill>
                  <a:srgbClr val="000000"/>
                </a:solidFill>
              </a:defRPr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○"/>
              <a:defRPr>
                <a:solidFill>
                  <a:srgbClr val="000000"/>
                </a:solidFill>
              </a:defRPr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■"/>
              <a:defRPr>
                <a:solidFill>
                  <a:srgbClr val="000000"/>
                </a:solidFill>
              </a:defRPr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●"/>
              <a:defRPr>
                <a:solidFill>
                  <a:srgbClr val="000000"/>
                </a:solidFill>
              </a:defRPr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○"/>
              <a:defRPr>
                <a:solidFill>
                  <a:srgbClr val="000000"/>
                </a:solidFill>
              </a:defRPr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■"/>
              <a:defRPr>
                <a:solidFill>
                  <a:srgbClr val="000000"/>
                </a:solidFill>
              </a:defRPr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●"/>
              <a:defRPr>
                <a:solidFill>
                  <a:srgbClr val="000000"/>
                </a:solidFill>
              </a:defRPr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○"/>
              <a:defRPr>
                <a:solidFill>
                  <a:srgbClr val="000000"/>
                </a:solidFill>
              </a:defRPr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Clr>
                <a:srgbClr val="000000"/>
              </a:buClr>
              <a:buSzPts val="1400"/>
              <a:buChar char="■"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8650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643275906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761456546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ird: text fill left, anything right" userDrawn="1">
  <p:cSld name="Third: text fill left, anything righ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0091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dark)" type="blank">
  <p:cSld name="Blank (dark)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10975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E6C5E-EB96-49E9-952F-FF78FFA9C84B}" type="datetimeFigureOut">
              <a:rPr lang="en-US" smtClean="0"/>
              <a:t>9/24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8407378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63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slideLayout" Target="../slideLayouts/slideLayout61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1" r:id="rId21"/>
    <p:sldLayoutId id="2147483692" r:id="rId22"/>
    <p:sldLayoutId id="2147483693" r:id="rId23"/>
    <p:sldLayoutId id="2147483694" r:id="rId24"/>
    <p:sldLayoutId id="2147483695" r:id="rId25"/>
    <p:sldLayoutId id="2147483755" r:id="rId26"/>
    <p:sldLayoutId id="2147483756" r:id="rId27"/>
    <p:sldLayoutId id="2147483757" r:id="rId28"/>
    <p:sldLayoutId id="2147483760" r:id="rId29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7" r:id="rId31"/>
    <p:sldLayoutId id="2147483738" r:id="rId32"/>
    <p:sldLayoutId id="2147483739" r:id="rId33"/>
    <p:sldLayoutId id="2147483740" r:id="rId3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sz="2400" b="0" dirty="0" smtClean="0">
                <a:solidFill>
                  <a:srgbClr val="002060"/>
                </a:solidFill>
              </a:rPr>
              <a:t>Better Bus Project - Update</a:t>
            </a:r>
            <a:endParaRPr lang="en-US" sz="2400" b="0" dirty="0">
              <a:solidFill>
                <a:srgbClr val="002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63853" y="4648200"/>
            <a:ext cx="3352800" cy="762000"/>
          </a:xfrm>
        </p:spPr>
        <p:txBody>
          <a:bodyPr/>
          <a:lstStyle/>
          <a:p>
            <a:r>
              <a:rPr lang="en-US" sz="2000" b="0" dirty="0" smtClean="0">
                <a:solidFill>
                  <a:srgbClr val="002060"/>
                </a:solidFill>
              </a:rPr>
              <a:t>September 24, 2018</a:t>
            </a:r>
          </a:p>
          <a:p>
            <a:endParaRPr lang="en-US" sz="2000" b="0" dirty="0">
              <a:solidFill>
                <a:srgbClr val="00206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endParaRPr lang="en-US" sz="2400" b="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60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 txBox="1">
            <a:spLocks noGrp="1"/>
          </p:cNvSpPr>
          <p:nvPr>
            <p:ph type="title"/>
          </p:nvPr>
        </p:nvSpPr>
        <p:spPr>
          <a:xfrm>
            <a:off x="457200" y="846549"/>
            <a:ext cx="8686800" cy="48627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About the MBTA Bus Service Network</a:t>
            </a:r>
            <a:endParaRPr sz="22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6" name="Shape 76"/>
          <p:cNvSpPr txBox="1">
            <a:spLocks noGrp="1"/>
          </p:cNvSpPr>
          <p:nvPr>
            <p:ph type="body" idx="2"/>
          </p:nvPr>
        </p:nvSpPr>
        <p:spPr>
          <a:xfrm>
            <a:off x="457199" y="1447800"/>
            <a:ext cx="8273625" cy="34477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 smtClean="0">
                <a:latin typeface="Arial" panose="020B0604020202020204" pitchFamily="34" charset="0"/>
                <a:cs typeface="Arial" panose="020B0604020202020204" pitchFamily="34" charset="0"/>
              </a:rPr>
              <a:t>About the MBTA Bus Service Network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 smtClean="0">
                <a:latin typeface="Arial" panose="020B0604020202020204" pitchFamily="34" charset="0"/>
                <a:cs typeface="Arial" panose="020B0604020202020204" pitchFamily="34" charset="0"/>
              </a:rPr>
              <a:t>The Better Bus Project and The Network Redesign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 smtClean="0">
                <a:latin typeface="Arial" panose="020B0604020202020204" pitchFamily="34" charset="0"/>
                <a:cs typeface="Arial" panose="020B0604020202020204" pitchFamily="34" charset="0"/>
              </a:rPr>
              <a:t>What we have heard through the Better Bus Project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 smtClean="0">
                <a:latin typeface="Arial" panose="020B0604020202020204" pitchFamily="34" charset="0"/>
                <a:cs typeface="Arial" panose="020B0604020202020204" pitchFamily="34" charset="0"/>
              </a:rPr>
              <a:t>Better Bus Project Service Improvement Process Map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 smtClean="0">
                <a:latin typeface="Arial" panose="020B0604020202020204" pitchFamily="34" charset="0"/>
                <a:cs typeface="Arial" panose="020B0604020202020204" pitchFamily="34" charset="0"/>
              </a:rPr>
              <a:t>Quarterly Changes to the Bus Network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 smtClean="0">
                <a:latin typeface="Arial" panose="020B0604020202020204" pitchFamily="34" charset="0"/>
                <a:cs typeface="Arial" panose="020B0604020202020204" pitchFamily="34" charset="0"/>
              </a:rPr>
              <a:t>Optimization of the Bus Network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 smtClean="0">
                <a:latin typeface="Arial" panose="020B0604020202020204" pitchFamily="34" charset="0"/>
                <a:cs typeface="Arial" panose="020B0604020202020204" pitchFamily="34" charset="0"/>
              </a:rPr>
              <a:t>Next Steps </a:t>
            </a:r>
            <a:endParaRPr lang="en-US" sz="17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78"/>
          <p:cNvSpPr txBox="1"/>
          <p:nvPr/>
        </p:nvSpPr>
        <p:spPr>
          <a:xfrm>
            <a:off x="8730825" y="5618900"/>
            <a:ext cx="325200" cy="29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528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000"/>
    </mc:Choice>
    <mc:Fallback xmlns="">
      <p:transition spd="slow" advTm="20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 txBox="1">
            <a:spLocks noGrp="1"/>
          </p:cNvSpPr>
          <p:nvPr>
            <p:ph type="title"/>
          </p:nvPr>
        </p:nvSpPr>
        <p:spPr>
          <a:xfrm>
            <a:off x="457200" y="846549"/>
            <a:ext cx="8686800" cy="48627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2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About the MBTA Bus Service Network</a:t>
            </a:r>
            <a:endParaRPr sz="22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6" name="Shape 76"/>
          <p:cNvSpPr txBox="1">
            <a:spLocks noGrp="1"/>
          </p:cNvSpPr>
          <p:nvPr>
            <p:ph type="body" idx="2"/>
          </p:nvPr>
        </p:nvSpPr>
        <p:spPr>
          <a:xfrm>
            <a:off x="457199" y="1447800"/>
            <a:ext cx="8273625" cy="34477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>
                <a:latin typeface="Arial" panose="020B0604020202020204" pitchFamily="34" charset="0"/>
                <a:cs typeface="Arial" panose="020B0604020202020204" pitchFamily="34" charset="0"/>
              </a:rPr>
              <a:t>More than a third of all MBTA trips are taken on buses. 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>
                <a:latin typeface="Arial" panose="020B0604020202020204" pitchFamily="34" charset="0"/>
                <a:cs typeface="Arial" panose="020B0604020202020204" pitchFamily="34" charset="0"/>
              </a:rPr>
              <a:t>The MBTA’s bus network consists of 175 routes.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>
                <a:latin typeface="Arial" panose="020B0604020202020204" pitchFamily="34" charset="0"/>
                <a:cs typeface="Arial" panose="020B0604020202020204" pitchFamily="34" charset="0"/>
              </a:rPr>
              <a:t>Nearly 450,000 trips are taken on MBTA buses in a single weekday. 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>
                <a:latin typeface="Arial" panose="020B0604020202020204" pitchFamily="34" charset="0"/>
                <a:cs typeface="Arial" panose="020B0604020202020204" pitchFamily="34" charset="0"/>
              </a:rPr>
              <a:t>Serving 50 communities, the bus network provides critical connections.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700" b="0" dirty="0">
                <a:latin typeface="Arial" panose="020B0604020202020204" pitchFamily="34" charset="0"/>
                <a:cs typeface="Arial" panose="020B0604020202020204" pitchFamily="34" charset="0"/>
              </a:rPr>
              <a:t>Overall On Time Performance for the bus network is 65%, well below the target of 75%.</a:t>
            </a:r>
          </a:p>
        </p:txBody>
      </p:sp>
      <p:sp>
        <p:nvSpPr>
          <p:cNvPr id="78" name="Shape 78"/>
          <p:cNvSpPr txBox="1"/>
          <p:nvPr/>
        </p:nvSpPr>
        <p:spPr>
          <a:xfrm>
            <a:off x="8730825" y="5618900"/>
            <a:ext cx="325200" cy="29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C969E41C-D576-446E-BAFF-5A1DEEBCE49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90600" y="3839905"/>
          <a:ext cx="7005891" cy="269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840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5914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883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26114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s of bus routes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lang="en-US" sz="17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Routes</a:t>
                      </a:r>
                      <a:endParaRPr lang="en-US" sz="17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of Bus</a:t>
                      </a:r>
                      <a:r>
                        <a:rPr lang="en-US" sz="17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idership</a:t>
                      </a:r>
                      <a:endParaRPr lang="en-US" sz="17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7769">
                <a:tc>
                  <a:txBody>
                    <a:bodyPr/>
                    <a:lstStyle/>
                    <a:p>
                      <a:pPr marL="117475" lvl="1" indent="0">
                        <a:spcBef>
                          <a:spcPts val="1200"/>
                        </a:spcBef>
                        <a:buClr>
                          <a:schemeClr val="bg1"/>
                        </a:buClr>
                        <a:buSzPts val="1600"/>
                      </a:pPr>
                      <a:r>
                        <a:rPr lang="en-US" sz="17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bus routes</a:t>
                      </a:r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117475" lvl="1" indent="0">
                        <a:spcBef>
                          <a:spcPts val="0"/>
                        </a:spcBef>
                        <a:buClr>
                          <a:schemeClr val="bg1"/>
                        </a:buClr>
                        <a:buSzPts val="1600"/>
                      </a:pPr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onger span, higher frequency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1605788"/>
                  </a:ext>
                </a:extLst>
              </a:tr>
              <a:tr h="397769">
                <a:tc>
                  <a:txBody>
                    <a:bodyPr/>
                    <a:lstStyle/>
                    <a:p>
                      <a:pPr marL="117475" lvl="2" indent="0">
                        <a:spcBef>
                          <a:spcPts val="1200"/>
                        </a:spcBef>
                        <a:buClr>
                          <a:schemeClr val="bg1"/>
                        </a:buClr>
                        <a:buSzPts val="1600"/>
                      </a:pPr>
                      <a:r>
                        <a:rPr lang="en-US" sz="17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l bus routes</a:t>
                      </a:r>
                    </a:p>
                    <a:p>
                      <a:pPr marL="117475" lvl="2" indent="0">
                        <a:spcBef>
                          <a:spcPts val="0"/>
                        </a:spcBef>
                        <a:buClr>
                          <a:schemeClr val="bg1"/>
                        </a:buClr>
                        <a:buSzPts val="1600"/>
                      </a:pPr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full weekday service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7769">
                <a:tc>
                  <a:txBody>
                    <a:bodyPr/>
                    <a:lstStyle/>
                    <a:p>
                      <a:pPr marL="117475" lvl="2" indent="0">
                        <a:spcBef>
                          <a:spcPts val="1200"/>
                        </a:spcBef>
                        <a:buClr>
                          <a:schemeClr val="bg1"/>
                        </a:buClr>
                        <a:buSzPts val="1600"/>
                      </a:pPr>
                      <a:r>
                        <a:rPr lang="en-US" sz="17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bus routes </a:t>
                      </a:r>
                    </a:p>
                    <a:p>
                      <a:pPr marL="117475" lvl="2" indent="0">
                        <a:spcBef>
                          <a:spcPts val="0"/>
                        </a:spcBef>
                        <a:buClr>
                          <a:schemeClr val="bg1"/>
                        </a:buClr>
                        <a:buSzPts val="1600"/>
                      </a:pPr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imited peak-direction trips, express bus route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059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000"/>
    </mc:Choice>
    <mc:Fallback xmlns="">
      <p:transition spd="slow" advTm="2000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at we have </a:t>
            </a:r>
            <a:r>
              <a:rPr lang="en-US" sz="2400" dirty="0" smtClean="0"/>
              <a:t>heard through the Better Bus Project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462685" y="1524000"/>
            <a:ext cx="8300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 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5668827"/>
              </p:ext>
            </p:extLst>
          </p:nvPr>
        </p:nvGraphicFramePr>
        <p:xfrm>
          <a:off x="479938" y="1506747"/>
          <a:ext cx="8283063" cy="484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6474">
                  <a:extLst>
                    <a:ext uri="{9D8B030D-6E8A-4147-A177-3AD203B41FA5}">
                      <a16:colId xmlns:a16="http://schemas.microsoft.com/office/drawing/2014/main" xmlns="" val="3101706658"/>
                    </a:ext>
                  </a:extLst>
                </a:gridCol>
                <a:gridCol w="6176589">
                  <a:extLst>
                    <a:ext uri="{9D8B030D-6E8A-4147-A177-3AD203B41FA5}">
                      <a16:colId xmlns:a16="http://schemas.microsoft.com/office/drawing/2014/main" xmlns="" val="2686583377"/>
                    </a:ext>
                  </a:extLst>
                </a:gridCol>
              </a:tblGrid>
              <a:tr h="13741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di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12326738"/>
                  </a:ext>
                </a:extLst>
              </a:tr>
              <a:tr h="13741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k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highest impact, as quickly as possible to routes that would create the bus network backbone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39291223"/>
                  </a:ext>
                </a:extLst>
              </a:tr>
              <a:tr h="13741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eral Publ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re reliable service</a:t>
                      </a:r>
                      <a:endParaRPr lang="en-US" sz="180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re frequent service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41595606"/>
                  </a:ext>
                </a:extLst>
              </a:tr>
              <a:tr h="13741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edules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at can be me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tter spacing of stops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67838469"/>
                  </a:ext>
                </a:extLst>
              </a:tr>
              <a:tr h="137411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ltant Review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 is too complex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re are too few frequent routes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 is slow and getting slower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ce is unreliable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edules are irregular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y buses are overcrowded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y routes start too late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y routes end service too early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y routes operate too infrequent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466572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6282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8300316" cy="466344"/>
          </a:xfrm>
        </p:spPr>
        <p:txBody>
          <a:bodyPr/>
          <a:lstStyle/>
          <a:p>
            <a:r>
              <a:rPr lang="en-US" sz="2400" dirty="0" smtClean="0"/>
              <a:t>Better Bus Project Service Improvement Process Map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462685" y="1600200"/>
            <a:ext cx="8300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 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424585" y="1422972"/>
            <a:ext cx="8376515" cy="482028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Quarterly Changes - Ongoing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377860" y="3143367"/>
            <a:ext cx="4117940" cy="790187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ier 1: Budget Neutral </a:t>
            </a: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4597564" y="3142919"/>
            <a:ext cx="4165437" cy="790187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ier 2 – Tier 5: Investment </a:t>
            </a: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13803" y="2358183"/>
            <a:ext cx="8376515" cy="533187"/>
          </a:xfrm>
          <a:prstGeom prst="roundRect">
            <a:avLst>
              <a:gd name="adj" fmla="val 4929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Board Vote is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s need to be implemented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56831" y="5356404"/>
            <a:ext cx="4117940" cy="1349196"/>
          </a:xfrm>
          <a:prstGeom prst="roundRect">
            <a:avLst>
              <a:gd name="adj" fmla="val 3871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ard needs to provide gui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Com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ard needs to Vote on recommend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ations need to be implemented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597564" y="5356404"/>
            <a:ext cx="4144408" cy="1349196"/>
          </a:xfrm>
          <a:prstGeom prst="roundRect">
            <a:avLst>
              <a:gd name="adj" fmla="val 4036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ard needs to provide guid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ard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s to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te on recommend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get in FY20 to impl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ations need to be implemented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413803" y="1977183"/>
            <a:ext cx="8376515" cy="308817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in the allocated FY operating and capital budget.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377860" y="4064756"/>
            <a:ext cx="4117940" cy="1193043"/>
          </a:xfrm>
          <a:prstGeom prst="roundRect">
            <a:avLst>
              <a:gd name="adj" fmla="val 582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additional resources beyond FY19. Goal is to simplify routes, adjust schedules, and improve efficiency along routes.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4612842" y="4064757"/>
            <a:ext cx="4150159" cy="1193043"/>
          </a:xfrm>
          <a:prstGeom prst="roundRect">
            <a:avLst>
              <a:gd name="adj" fmla="val 4666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additional resources dependent on tier investment selection. Goal is to achieve Key Bus Route Standards and/or Service Delivery Policy Standards to create a high frequency core network.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813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8300316" cy="466344"/>
          </a:xfrm>
        </p:spPr>
        <p:txBody>
          <a:bodyPr/>
          <a:lstStyle/>
          <a:p>
            <a:r>
              <a:rPr lang="en-US" sz="2400" dirty="0" smtClean="0"/>
              <a:t>Quarterly Changes to the Bus Network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462685" y="1524000"/>
            <a:ext cx="8300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 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462685" y="1472628"/>
            <a:ext cx="2425262" cy="967524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Quarterly Changes</a:t>
            </a:r>
          </a:p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ngoing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462685" y="3576188"/>
            <a:ext cx="2425262" cy="3065433"/>
          </a:xfrm>
          <a:prstGeom prst="roundRect">
            <a:avLst>
              <a:gd name="adj" fmla="val 4929"/>
            </a:avLst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Board Vote is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s need to be implemented through quarterly updates.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462685" y="2494003"/>
            <a:ext cx="2425262" cy="1003802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addition resource requests beyond FY19 operating budget.</a:t>
            </a:r>
            <a:endParaRPr lang="en-U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124200" y="1438643"/>
            <a:ext cx="5867401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pring 2018 (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pril)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arly Morning Service Expansion Pilot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helsea Gateway Silver Line Service 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Fall 2018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September)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83 changes; 49 route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58,571 Passenger Trip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38% of Trips/Weekday 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oute 111 – 5 additional operators added to improve reliability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ate Night Service Expansion Pilo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inter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18-19 (December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43 changes; 29 Rou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568,146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assenger Trips (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eekly Trips)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hanges to 24% Passenger Trip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abot Garage – 5 additional operators added to improve reliabilit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outes 1, 47 and 66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dditional inbound trip during 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600" smtClean="0">
                <a:latin typeface="Arial" panose="020B0604020202020204" pitchFamily="34" charset="0"/>
                <a:cs typeface="Arial" panose="020B0604020202020204" pitchFamily="34" charset="0"/>
              </a:rPr>
              <a:t>AM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eak on Route 111</a:t>
            </a:r>
          </a:p>
          <a:p>
            <a:pPr lvl="0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32178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Optimization of the Bus Network – Fall 2018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462685" y="1524000"/>
            <a:ext cx="8300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 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9049128"/>
              </p:ext>
            </p:extLst>
          </p:nvPr>
        </p:nvGraphicFramePr>
        <p:xfrm>
          <a:off x="462686" y="1506747"/>
          <a:ext cx="8300316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6114">
                  <a:extLst>
                    <a:ext uri="{9D8B030D-6E8A-4147-A177-3AD203B41FA5}">
                      <a16:colId xmlns:a16="http://schemas.microsoft.com/office/drawing/2014/main" xmlns="" val="3101706658"/>
                    </a:ext>
                  </a:extLst>
                </a:gridCol>
                <a:gridCol w="6934202">
                  <a:extLst>
                    <a:ext uri="{9D8B030D-6E8A-4147-A177-3AD203B41FA5}">
                      <a16:colId xmlns:a16="http://schemas.microsoft.com/office/drawing/2014/main" xmlns="" val="2686583377"/>
                    </a:ext>
                  </a:extLst>
                </a:gridCol>
              </a:tblGrid>
              <a:tr h="137411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800" b="1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Transit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ority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ject Description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12326738"/>
                  </a:ext>
                </a:extLst>
              </a:tr>
              <a:tr h="137411"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</a:t>
                      </a:r>
                      <a:r>
                        <a:rPr lang="en-US" sz="1800" b="0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1</a:t>
                      </a:r>
                      <a:endParaRPr lang="en-US" sz="18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bridge</a:t>
                      </a:r>
                      <a:r>
                        <a:rPr lang="en-US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rking Da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Bus lanes for one day onl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ss Ave and Main S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y routes benefi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39291223"/>
                  </a:ext>
                </a:extLst>
              </a:tr>
              <a:tr h="137411"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 9</a:t>
                      </a:r>
                      <a:endParaRPr lang="en-US" sz="18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ling</a:t>
                      </a:r>
                      <a:r>
                        <a:rPr lang="en-US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n bus lane on Mass Ave (1 month)</a:t>
                      </a:r>
                      <a:endParaRPr lang="en-US" sz="1800" b="1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x of bus lane, queue jump, and TS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s 77, 79, 350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41595606"/>
                  </a:ext>
                </a:extLst>
              </a:tr>
              <a:tr h="137411"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 26 (Likely)</a:t>
                      </a:r>
                      <a:endParaRPr lang="en-US" sz="18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bridge Mt. Auburn St. bus lanes</a:t>
                      </a:r>
                      <a:endParaRPr lang="en-US" sz="1800" b="1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inted, all-day bus lane, pre-empted queue jumps, TS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s 71, 7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67838469"/>
                  </a:ext>
                </a:extLst>
              </a:tr>
              <a:tr h="137411">
                <a:tc>
                  <a:txBody>
                    <a:bodyPr/>
                    <a:lstStyle/>
                    <a:p>
                      <a:pPr algn="ctr"/>
                      <a:r>
                        <a:rPr lang="en-US" sz="18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ll/Winter (Likely)</a:t>
                      </a:r>
                      <a:endParaRPr lang="en-US" sz="18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bridge South Mass Ave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inted,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ll-day bus lane, TSP evaluation, coordinating with DCR and MassDOT for transit improvements on bridge</a:t>
                      </a:r>
                    </a:p>
                    <a:p>
                      <a:pPr marL="28575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tes 1, CT1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466572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090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 txBox="1">
            <a:spLocks noGrp="1"/>
          </p:cNvSpPr>
          <p:nvPr>
            <p:ph type="title"/>
          </p:nvPr>
        </p:nvSpPr>
        <p:spPr>
          <a:xfrm>
            <a:off x="457200" y="846549"/>
            <a:ext cx="8686800" cy="48627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Next Steps – Tier 1, Budget Neutral Opportunities </a:t>
            </a:r>
            <a:endParaRPr sz="22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6" name="Shape 76"/>
          <p:cNvSpPr txBox="1">
            <a:spLocks noGrp="1"/>
          </p:cNvSpPr>
          <p:nvPr>
            <p:ph type="body" idx="2"/>
          </p:nvPr>
        </p:nvSpPr>
        <p:spPr>
          <a:xfrm>
            <a:off x="457199" y="1447800"/>
            <a:ext cx="8273625" cy="34477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 with Board Memb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e September 2018</a:t>
            </a:r>
            <a:endParaRPr lang="en-US" sz="1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Public Meetings to share recommendations and receive feedback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 2019</a:t>
            </a:r>
            <a:endParaRPr lang="en-US" sz="1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ard Vote on Proposals to Adop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il 2019</a:t>
            </a:r>
            <a:endParaRPr lang="en-US" sz="1400" b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 Adopted Proposa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l 2019 (Based on timeline for planning, scheduling and picking)</a:t>
            </a:r>
            <a:endParaRPr lang="en-US" sz="14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SzPct val="75000"/>
            </a:pPr>
            <a:endParaRPr lang="en-US" sz="17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78"/>
          <p:cNvSpPr txBox="1"/>
          <p:nvPr/>
        </p:nvSpPr>
        <p:spPr>
          <a:xfrm>
            <a:off x="8730825" y="5618900"/>
            <a:ext cx="325200" cy="29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4539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000"/>
    </mc:Choice>
    <mc:Fallback xmlns="">
      <p:transition spd="slow" advTm="2000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4D1B9B35A7C5469B16801C501C644E" ma:contentTypeVersion="2" ma:contentTypeDescription="Create a new document." ma:contentTypeScope="" ma:versionID="ae886022c6a593ba58aa04d356bd0e73">
  <xsd:schema xmlns:xsd="http://www.w3.org/2001/XMLSchema" xmlns:xs="http://www.w3.org/2001/XMLSchema" xmlns:p="http://schemas.microsoft.com/office/2006/metadata/properties" xmlns:ns2="66885f88-23e1-46eb-a6b7-87275c3887c6" targetNamespace="http://schemas.microsoft.com/office/2006/metadata/properties" ma:root="true" ma:fieldsID="9c8b41dafc88a58b2bb8f785c147a607" ns2:_="">
    <xsd:import namespace="66885f88-23e1-46eb-a6b7-87275c3887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885f88-23e1-46eb-a6b7-87275c3887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E44170B-D019-40FD-AC95-6786B36B8B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43FEF48-3AEC-4B7B-AE6A-9CDD24110F96}">
  <ds:schemaRefs>
    <ds:schemaRef ds:uri="66885f88-23e1-46eb-a6b7-87275c3887c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E47DC59-7425-4E2C-B478-D6FA94F0D2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885f88-23e1-46eb-a6b7-87275c3887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48640</TotalTime>
  <Words>714</Words>
  <Application>Microsoft Office PowerPoint</Application>
  <PresentationFormat>On-screen Show (4:3)</PresentationFormat>
  <Paragraphs>138</Paragraphs>
  <Slides>8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MBTA Default Template</vt:lpstr>
      <vt:lpstr>1_MBTA Default Template</vt:lpstr>
      <vt:lpstr>Better Bus Project - Update</vt:lpstr>
      <vt:lpstr>About the MBTA Bus Service Network</vt:lpstr>
      <vt:lpstr>About the MBTA Bus Service Network</vt:lpstr>
      <vt:lpstr>What we have heard through the Better Bus Project</vt:lpstr>
      <vt:lpstr>Better Bus Project Service Improvement Process Map</vt:lpstr>
      <vt:lpstr>Quarterly Changes to the Bus Network</vt:lpstr>
      <vt:lpstr>Optimization of the Bus Network – Fall 2018</vt:lpstr>
      <vt:lpstr>Next Steps – Tier 1, Budget Neutral Opportunities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DAS</cp:lastModifiedBy>
  <cp:revision>1540</cp:revision>
  <cp:lastPrinted>2018-09-24T13:23:54Z</cp:lastPrinted>
  <dcterms:created xsi:type="dcterms:W3CDTF">2016-04-11T13:25:01Z</dcterms:created>
  <dcterms:modified xsi:type="dcterms:W3CDTF">2018-09-24T18:0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4D1B9B35A7C5469B16801C501C644E</vt:lpwstr>
  </property>
</Properties>
</file>